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333" r:id="rId4"/>
    <p:sldId id="332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32" autoAdjust="0"/>
    <p:restoredTop sz="94660"/>
  </p:normalViewPr>
  <p:slideViewPr>
    <p:cSldViewPr snapToGrid="0">
      <p:cViewPr varScale="1">
        <p:scale>
          <a:sx n="75" d="100"/>
          <a:sy n="75" d="100"/>
        </p:scale>
        <p:origin x="66" y="7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A82D33-B406-752E-8A9C-C3E3814A15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5F336A3-67FE-6020-1A38-646C0E6D96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FD2CE13-77A7-51E3-E6CA-68337C57C6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6125A5-096A-8DBD-11D8-82AEF756F1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3A8F827-7ED4-3FDF-B805-398601D54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2849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2B550A-9541-F72C-E42A-64E814CA9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3F0ADE66-D6A3-EC5E-D1CE-B4F55F64A2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F8235BF1-C974-34B0-A981-05EC81425B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3C4012D-1154-BD8B-6B74-392AD06325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473D954-FFDD-885E-9935-16FACA391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546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1CBCAD1C-34CD-7548-51A1-5FCD2D03CB4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76C3C0FE-32FB-A82B-73C3-7237D3395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6C98E8E-9694-E374-FDC8-44EE1703E5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58BAE5D-CDB0-093F-CB20-09D730D2DB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6C2663F-99B8-FDE5-B0AE-60CBAC03A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5108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0004" y="317500"/>
            <a:ext cx="11235749" cy="5207000"/>
          </a:xfrm>
          <a:solidFill>
            <a:srgbClr val="1F497D"/>
          </a:solidFill>
        </p:spPr>
        <p:txBody>
          <a:bodyPr/>
          <a:lstStyle>
            <a:lvl1pPr marL="0" indent="0" algn="r">
              <a:buNone/>
              <a:defRPr>
                <a:solidFill>
                  <a:srgbClr val="DCDCE0"/>
                </a:solidFill>
                <a:latin typeface="+mj-lt"/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" y="1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9" name="Objekt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21166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197709" y="1744658"/>
            <a:ext cx="6105769" cy="407988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for at redigere undertiteltypografien i masteren</a:t>
            </a:r>
            <a:endParaRPr lang="en-GB" noProof="0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197710" y="706437"/>
            <a:ext cx="6103062" cy="900101"/>
          </a:xfrm>
        </p:spPr>
        <p:txBody>
          <a:bodyPr anchor="t" anchorCtr="0"/>
          <a:lstStyle>
            <a:lvl1pPr>
              <a:lnSpc>
                <a:spcPts val="3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80004" y="6474768"/>
            <a:ext cx="4159737" cy="184666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insert date</a:t>
            </a:r>
          </a:p>
        </p:txBody>
      </p:sp>
      <p:pic>
        <p:nvPicPr>
          <p:cNvPr id="10" name="Pladsholder til billede 6" descr="Cool_RGB.em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3" b="-408"/>
          <a:stretch/>
        </p:blipFill>
        <p:spPr>
          <a:xfrm>
            <a:off x="9535425" y="5621377"/>
            <a:ext cx="2289743" cy="1014903"/>
          </a:xfrm>
          <a:prstGeom prst="rect">
            <a:avLst/>
          </a:prstGeom>
          <a:noFill/>
        </p:spPr>
      </p:pic>
      <p:sp>
        <p:nvSpPr>
          <p:cNvPr id="11" name="Tekstboks 10"/>
          <p:cNvSpPr txBox="1"/>
          <p:nvPr userDrawn="1"/>
        </p:nvSpPr>
        <p:spPr>
          <a:xfrm>
            <a:off x="1471016" y="6482391"/>
            <a:ext cx="27254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400" dirty="0"/>
              <a:t>© Copyright Cool Partners 2015</a:t>
            </a:r>
          </a:p>
        </p:txBody>
      </p:sp>
    </p:spTree>
    <p:extLst>
      <p:ext uri="{BB962C8B-B14F-4D97-AF65-F5344CB8AC3E}">
        <p14:creationId xmlns:p14="http://schemas.microsoft.com/office/powerpoint/2010/main" val="16518308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80003" y="6491387"/>
            <a:ext cx="590549" cy="153888"/>
          </a:xfrm>
          <a:ln/>
        </p:spPr>
        <p:txBody>
          <a:bodyPr>
            <a:spAutoFit/>
          </a:bodyPr>
          <a:lstStyle>
            <a:lvl1pPr>
              <a:defRPr/>
            </a:lvl1pPr>
          </a:lstStyle>
          <a:p>
            <a:pPr>
              <a:defRPr/>
            </a:pPr>
            <a:fld id="{6DF21DC4-A50C-4C5E-AEF3-BA6F3745C0B1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  <p:sp>
        <p:nvSpPr>
          <p:cNvPr id="9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480001" y="338400"/>
            <a:ext cx="11236331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noProof="0"/>
              <a:t>Klik for at redigere titeltypografi i master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721995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38400"/>
            <a:ext cx="11236331" cy="823912"/>
          </a:xfrm>
        </p:spPr>
        <p:txBody>
          <a:bodyPr/>
          <a:lstStyle/>
          <a:p>
            <a:r>
              <a:rPr lang="da-DK" noProof="0"/>
              <a:t>Klik for at redigere titeltypografi i masteren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0004" y="1328738"/>
            <a:ext cx="5495349" cy="42338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0888" y="1328738"/>
            <a:ext cx="5495349" cy="42338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E96885-B7FE-4F75-9FC4-7662EA55A076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381949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38400"/>
            <a:ext cx="11236331" cy="823912"/>
          </a:xfrm>
        </p:spPr>
        <p:txBody>
          <a:bodyPr/>
          <a:lstStyle/>
          <a:p>
            <a:r>
              <a:rPr lang="da-DK" noProof="0"/>
              <a:t>Klik for at redigere titeltypografi i masteren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0003" y="1328738"/>
            <a:ext cx="8351381" cy="42211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061387" y="1328738"/>
            <a:ext cx="2681652" cy="42211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E96885-B7FE-4F75-9FC4-7662EA55A076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951532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38400"/>
            <a:ext cx="11236331" cy="823912"/>
          </a:xfrm>
        </p:spPr>
        <p:txBody>
          <a:bodyPr/>
          <a:lstStyle/>
          <a:p>
            <a:r>
              <a:rPr lang="da-DK" noProof="0"/>
              <a:t>Klik for at redigere titeltypografi i masteren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4951" y="1328738"/>
            <a:ext cx="8351381" cy="42211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04" y="1328738"/>
            <a:ext cx="2681652" cy="42211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E96885-B7FE-4F75-9FC4-7662EA55A076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53614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Klik for at redigere titeltypografi i masteren</a:t>
            </a:r>
            <a:endParaRPr lang="en-GB" noProof="0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11815A-B20D-485D-A42D-61E71CBE0279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241145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6B0660-3EA3-468D-8610-343C1CF31075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46166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4196862" y="6447779"/>
            <a:ext cx="3783954" cy="188501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insert name</a:t>
            </a:r>
          </a:p>
        </p:txBody>
      </p:sp>
    </p:spTree>
    <p:extLst>
      <p:ext uri="{BB962C8B-B14F-4D97-AF65-F5344CB8AC3E}">
        <p14:creationId xmlns:p14="http://schemas.microsoft.com/office/powerpoint/2010/main" val="2799051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05513B-36F5-C3DA-3D19-F2FBE4D89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2DD43FE-6B18-9540-A538-517CE81CBB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98EC0EA-8ED8-F023-8EDB-B6E690A0C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E9C8093-DA50-BCFD-7B3B-2821F93DC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B475ACC-8F4B-A943-FFAE-0906CA204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2206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38400"/>
            <a:ext cx="11236331" cy="823912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0003" y="1328738"/>
            <a:ext cx="8351381" cy="42211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061387" y="1328738"/>
            <a:ext cx="2681652" cy="42211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4407878" y="6447779"/>
            <a:ext cx="3783954" cy="188501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insert name</a:t>
            </a:r>
          </a:p>
        </p:txBody>
      </p:sp>
    </p:spTree>
    <p:extLst>
      <p:ext uri="{BB962C8B-B14F-4D97-AF65-F5344CB8AC3E}">
        <p14:creationId xmlns:p14="http://schemas.microsoft.com/office/powerpoint/2010/main" val="13748929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38400"/>
            <a:ext cx="11236331" cy="823912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0003" y="1328738"/>
            <a:ext cx="8351381" cy="42211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061387" y="1328738"/>
            <a:ext cx="2681652" cy="42211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4407878" y="6447779"/>
            <a:ext cx="3783954" cy="188501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insert name</a:t>
            </a:r>
          </a:p>
        </p:txBody>
      </p:sp>
    </p:spTree>
    <p:extLst>
      <p:ext uri="{BB962C8B-B14F-4D97-AF65-F5344CB8AC3E}">
        <p14:creationId xmlns:p14="http://schemas.microsoft.com/office/powerpoint/2010/main" val="12908044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38400"/>
            <a:ext cx="11236331" cy="823912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4951" y="1328738"/>
            <a:ext cx="8351381" cy="42211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04" y="1328738"/>
            <a:ext cx="2681652" cy="422116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4349262" y="6456657"/>
            <a:ext cx="3783954" cy="188501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insert name</a:t>
            </a:r>
          </a:p>
        </p:txBody>
      </p:sp>
    </p:spTree>
    <p:extLst>
      <p:ext uri="{BB962C8B-B14F-4D97-AF65-F5344CB8AC3E}">
        <p14:creationId xmlns:p14="http://schemas.microsoft.com/office/powerpoint/2010/main" val="39796443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6CD6E98E-609A-4F63-A185-145410AD9764}" type="datetimeFigureOut">
              <a:rPr lang="da-DK" smtClean="0"/>
              <a:pPr/>
              <a:t>30-01-2024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68ADE-C401-4BD4-9F56-FDCB37CE2AA9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200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fld id="{5AC38B19-E1EF-4671-86B5-C87E95745CED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30-01-2024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lIns="107287" tIns="53643" rIns="107287" bIns="53643"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A778A-5639-4F43-BE03-DF61F62C185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125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BC9A99-51C2-E033-46CB-80358042B7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C628EB2-C7FA-3EA2-F8FD-36378FCADB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363B26F-0DC1-6AE6-BD86-12A4EE6A0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50C3C2A-FCC3-5F61-C7A2-77F82B1BA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71585C5-0396-60AF-9232-344CA500C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5659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ED77E2-EC5C-C44B-0402-180DB4FEEA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31DF76B8-C709-9B63-71D5-4562D7E9E8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87A9C76A-9CBE-6EC0-E9A3-7A5DDA549D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D74D2766-14D2-3DA2-2F59-ED2A3A2BE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FE59FDB-21CC-8A05-BD44-DC931C5AE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E4F92AAC-E1F7-C496-81A5-A77F3D528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788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E6AA4A-8955-C4D4-3595-69304B526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6BC9996-F42E-B253-BAD0-4DCBB2D538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813EDEBA-8BE3-0A3A-008E-C0BDE3BCA3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3BB1F98-5E50-6589-0539-306CEC650F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222C4CC1-1967-06A5-AA8C-6E65FFF0BE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4E85E0B2-AB99-A436-6F0E-24160E2366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277E475-88AD-2594-654D-AAAADD1BBD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CB4E7273-01F1-2954-7478-815985B39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5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78FB07-7C1D-835D-2985-D8006B687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66F3350-6D6D-DCF4-C82A-B64DD56116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7E92203-1433-7517-85B9-410344097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D3DEEA8-9505-008B-CDAE-DE7CDFA48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8050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328F0DA-B22C-025E-57CB-3298B18C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024DBB1-120A-1EAE-C348-0ED03F946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F821F0B-E4C5-45C2-38E0-89C209CDCB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359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AB2D4-23C5-7005-7D46-B4EBC124A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32094CF-7843-83B6-404D-613F05FFF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59CABF5-8858-4237-8213-2A434BF66C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D5215E9-143F-E80B-9676-DA4E60989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E607F85E-1DC1-B24C-9A8C-60499DF95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D6A3963-D25D-CF4D-158B-A0F297887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4562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C5E5D9-5DD0-09D8-7AB7-A1D3F24EF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F3B7D003-CB57-F73A-5F6F-E10676F1567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6E628527-1E4B-E826-30D9-7F5EA2DFE9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697FD96-0F51-5322-E049-D0A16D7641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8F8F684-000C-C12C-4C90-831B3B48E2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D4906784-F1EC-0584-9637-E6153B97B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637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2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8114D7CA-7CB8-7147-1F61-E6221E3ED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1C8CE70-3196-40A9-27F9-2A7806D84A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6A42484-B078-0015-B98D-CE27A54989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818B73-CEF8-49C7-B2F3-6021D6F621FB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AF2D2A0-4B3C-0831-5CD4-1E095041EF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B4ECB16-B32A-8AAB-D1FB-CA547CBF73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C7C8AB-20E8-4403-A9FB-4B0E9678246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418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8EB4E3"/>
            </a:gs>
            <a:gs pos="40000">
              <a:srgbClr val="FFFFFF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2" y="1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0" imgH="0" progId="">
                  <p:embed/>
                </p:oleObj>
              </mc:Choice>
              <mc:Fallback>
                <p:oleObj name="think-cell Slide" r:id="rId20" imgW="0" imgH="0" progId="">
                  <p:embed/>
                  <p:pic>
                    <p:nvPicPr>
                      <p:cNvPr id="9" name="Objekt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21166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480002" y="1328738"/>
            <a:ext cx="11235749" cy="4210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Klik</a:t>
            </a:r>
            <a:r>
              <a:rPr lang="en-GB" noProof="0" dirty="0"/>
              <a:t> for at </a:t>
            </a:r>
            <a:r>
              <a:rPr lang="en-GB" noProof="0" dirty="0" err="1"/>
              <a:t>redigere</a:t>
            </a:r>
            <a:r>
              <a:rPr lang="en-GB" noProof="0" dirty="0"/>
              <a:t> </a:t>
            </a:r>
            <a:r>
              <a:rPr lang="en-GB" noProof="0" dirty="0" err="1"/>
              <a:t>typografi</a:t>
            </a:r>
            <a:r>
              <a:rPr lang="en-GB" noProof="0" dirty="0"/>
              <a:t> </a:t>
            </a:r>
            <a:r>
              <a:rPr lang="en-GB" noProof="0" dirty="0" err="1"/>
              <a:t>i</a:t>
            </a:r>
            <a:r>
              <a:rPr lang="en-GB" noProof="0" dirty="0"/>
              <a:t> </a:t>
            </a:r>
            <a:r>
              <a:rPr lang="en-GB" noProof="0" dirty="0" err="1"/>
              <a:t>masteren</a:t>
            </a:r>
            <a:endParaRPr lang="en-GB" noProof="0" dirty="0"/>
          </a:p>
          <a:p>
            <a:pPr lvl="1"/>
            <a:r>
              <a:rPr lang="en-GB" noProof="0" dirty="0" err="1"/>
              <a:t>Andet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edj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480003" y="6491387"/>
            <a:ext cx="59054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buFontTx/>
              <a:buNone/>
              <a:defRPr sz="10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2" name="Rectangle 9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480002" y="338400"/>
            <a:ext cx="11235749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Klik</a:t>
            </a:r>
            <a:r>
              <a:rPr lang="en-GB" noProof="0" dirty="0"/>
              <a:t> for at </a:t>
            </a:r>
            <a:r>
              <a:rPr lang="en-GB" noProof="0" dirty="0" err="1"/>
              <a:t>redigere</a:t>
            </a:r>
            <a:r>
              <a:rPr lang="en-GB" noProof="0" dirty="0"/>
              <a:t> </a:t>
            </a:r>
            <a:r>
              <a:rPr lang="en-GB" noProof="0" dirty="0" err="1"/>
              <a:t>titeltypografi</a:t>
            </a:r>
            <a:r>
              <a:rPr lang="en-GB" noProof="0" dirty="0"/>
              <a:t> </a:t>
            </a:r>
            <a:r>
              <a:rPr lang="en-GB" noProof="0" dirty="0" err="1"/>
              <a:t>i</a:t>
            </a:r>
            <a:r>
              <a:rPr lang="en-GB" noProof="0" dirty="0"/>
              <a:t> </a:t>
            </a:r>
            <a:r>
              <a:rPr lang="en-GB" noProof="0" dirty="0" err="1"/>
              <a:t>masteren</a:t>
            </a:r>
            <a:endParaRPr lang="en-GB" noProof="0" dirty="0"/>
          </a:p>
        </p:txBody>
      </p:sp>
      <p:pic>
        <p:nvPicPr>
          <p:cNvPr id="19" name="Pladsholder til billede 6" descr="Cool_RGB.emf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3" b="-408"/>
          <a:stretch/>
        </p:blipFill>
        <p:spPr>
          <a:xfrm>
            <a:off x="9535425" y="5621377"/>
            <a:ext cx="2289743" cy="1014903"/>
          </a:xfrm>
          <a:prstGeom prst="rect">
            <a:avLst/>
          </a:prstGeom>
          <a:noFill/>
        </p:spPr>
      </p:pic>
      <p:sp>
        <p:nvSpPr>
          <p:cNvPr id="7" name="Tekstboks 6"/>
          <p:cNvSpPr txBox="1"/>
          <p:nvPr userDrawn="1"/>
        </p:nvSpPr>
        <p:spPr>
          <a:xfrm>
            <a:off x="1222893" y="6482391"/>
            <a:ext cx="27254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400" dirty="0"/>
              <a:t>© Copyright Cool Partners 2015</a:t>
            </a:r>
          </a:p>
        </p:txBody>
      </p:sp>
      <p:sp>
        <p:nvSpPr>
          <p:cNvPr id="8" name="Text Placeholder 14"/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5357447" y="6482391"/>
            <a:ext cx="3783954" cy="2769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r"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Pct val="80000"/>
              <a:buFont typeface="Wingdings" pitchFamily="2" charset="2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dule 1</a:t>
            </a:r>
          </a:p>
        </p:txBody>
      </p:sp>
    </p:spTree>
    <p:extLst>
      <p:ext uri="{BB962C8B-B14F-4D97-AF65-F5344CB8AC3E}">
        <p14:creationId xmlns:p14="http://schemas.microsoft.com/office/powerpoint/2010/main" val="3645135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82563" indent="-182563" algn="l" rtl="0" eaLnBrk="1" fontAlgn="base" hangingPunct="1">
        <a:spcBef>
          <a:spcPts val="300"/>
        </a:spcBef>
        <a:spcAft>
          <a:spcPct val="0"/>
        </a:spcAft>
        <a:buSzPct val="80000"/>
        <a:buFont typeface="Wingdings" pitchFamily="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4625" algn="l" rtl="0" eaLnBrk="1" fontAlgn="base" hangingPunct="1">
        <a:spcBef>
          <a:spcPts val="300"/>
        </a:spcBef>
        <a:spcAft>
          <a:spcPct val="0"/>
        </a:spcAft>
        <a:buSzPct val="80000"/>
        <a:buFont typeface="Arial" pitchFamily="34" charset="0"/>
        <a:buChar char="–"/>
        <a:defRPr sz="1200">
          <a:solidFill>
            <a:schemeClr val="tx1"/>
          </a:solidFill>
          <a:latin typeface="+mn-lt"/>
        </a:defRPr>
      </a:lvl2pPr>
      <a:lvl3pPr marL="538163" indent="-177800" algn="l" rtl="0" eaLnBrk="1" fontAlgn="base" hangingPunct="1">
        <a:spcBef>
          <a:spcPts val="300"/>
        </a:spcBef>
        <a:spcAft>
          <a:spcPct val="0"/>
        </a:spcAft>
        <a:buSzPct val="80000"/>
        <a:buFont typeface="Arial" pitchFamily="34" charset="0"/>
        <a:buChar char="·"/>
        <a:defRPr sz="1200">
          <a:solidFill>
            <a:schemeClr val="tx1"/>
          </a:solidFill>
          <a:latin typeface="+mn-lt"/>
        </a:defRPr>
      </a:lvl3pPr>
      <a:lvl4pPr marL="725488" indent="-185738" algn="l" rtl="0" eaLnBrk="1" fontAlgn="base" hangingPunct="1">
        <a:spcBef>
          <a:spcPts val="300"/>
        </a:spcBef>
        <a:spcAft>
          <a:spcPct val="0"/>
        </a:spcAft>
        <a:buSzPct val="80000"/>
        <a:buFont typeface="Arial" pitchFamily="34" charset="0"/>
        <a:buChar char="·"/>
        <a:defRPr sz="1200">
          <a:solidFill>
            <a:schemeClr val="tx1"/>
          </a:solidFill>
          <a:latin typeface="+mn-lt"/>
        </a:defRPr>
      </a:lvl4pPr>
      <a:lvl5pPr marL="887413" indent="-160338" algn="l" rtl="0" eaLnBrk="1" fontAlgn="base" hangingPunct="1">
        <a:spcBef>
          <a:spcPts val="300"/>
        </a:spcBef>
        <a:spcAft>
          <a:spcPct val="0"/>
        </a:spcAft>
        <a:buSzPct val="80000"/>
        <a:buFont typeface="Arial" pitchFamily="34" charset="0"/>
        <a:buChar char="·"/>
        <a:defRPr sz="1200">
          <a:solidFill>
            <a:schemeClr val="tx1"/>
          </a:solidFill>
          <a:latin typeface="+mn-lt"/>
        </a:defRPr>
      </a:lvl5pPr>
      <a:lvl6pPr marL="13446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018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590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162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oleObject" Target="../embeddings/oleObject3.bin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4.bin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9B55CF-04DF-BF58-6540-42AC2E68D98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DC80876D-B1D7-C17A-3DA9-29B9470C40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091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3"/>
          <p:cNvGraphicFramePr>
            <a:graphicFrameLocks noChangeAspect="1"/>
          </p:cNvGraphicFramePr>
          <p:nvPr/>
        </p:nvGraphicFramePr>
        <p:xfrm>
          <a:off x="1809827" y="1356787"/>
          <a:ext cx="4259263" cy="3681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2" imgW="2846391" imgH="2460780" progId="Visio.Drawing.11">
                  <p:embed/>
                </p:oleObj>
              </mc:Choice>
              <mc:Fallback>
                <p:oleObj name="Visio" r:id="rId2" imgW="2846391" imgH="2460780" progId="Visio.Drawing.11">
                  <p:embed/>
                  <p:pic>
                    <p:nvPicPr>
                      <p:cNvPr id="1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09827" y="1356787"/>
                        <a:ext cx="4259263" cy="36814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PO – HP oil separation unit</a:t>
            </a:r>
            <a:b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il separation in liquid R717</a:t>
            </a: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495926" y="6447779"/>
            <a:ext cx="3074463" cy="188501"/>
          </a:xfrm>
        </p:spPr>
        <p:txBody>
          <a:bodyPr/>
          <a:lstStyle/>
          <a:p>
            <a:endParaRPr lang="en-US"/>
          </a:p>
        </p:txBody>
      </p:sp>
      <p:cxnSp>
        <p:nvCxnSpPr>
          <p:cNvPr id="4" name="Lige pilforbindelse 53"/>
          <p:cNvCxnSpPr/>
          <p:nvPr/>
        </p:nvCxnSpPr>
        <p:spPr>
          <a:xfrm flipH="1" flipV="1">
            <a:off x="4124178" y="3877290"/>
            <a:ext cx="295872" cy="8458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kstboks 55"/>
          <p:cNvSpPr txBox="1"/>
          <p:nvPr/>
        </p:nvSpPr>
        <p:spPr>
          <a:xfrm>
            <a:off x="6428434" y="1212994"/>
            <a:ext cx="2520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P liquid containing oil</a:t>
            </a:r>
          </a:p>
        </p:txBody>
      </p:sp>
      <p:sp>
        <p:nvSpPr>
          <p:cNvPr id="6" name="Tekstboks 56"/>
          <p:cNvSpPr txBox="1"/>
          <p:nvPr/>
        </p:nvSpPr>
        <p:spPr>
          <a:xfrm>
            <a:off x="8556776" y="3287445"/>
            <a:ext cx="24482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PO variants/options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tand alon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mbined with receiver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oil cooler liquid priority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efrost hot gas supply</a:t>
            </a:r>
          </a:p>
        </p:txBody>
      </p:sp>
      <p:sp>
        <p:nvSpPr>
          <p:cNvPr id="7" name="Tekstboks 64"/>
          <p:cNvSpPr txBox="1"/>
          <p:nvPr/>
        </p:nvSpPr>
        <p:spPr>
          <a:xfrm>
            <a:off x="5996386" y="3805282"/>
            <a:ext cx="2736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&lt; 1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p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oil</a:t>
            </a:r>
          </a:p>
        </p:txBody>
      </p:sp>
      <p:sp>
        <p:nvSpPr>
          <p:cNvPr id="8" name="Tekstboks 65"/>
          <p:cNvSpPr txBox="1"/>
          <p:nvPr/>
        </p:nvSpPr>
        <p:spPr>
          <a:xfrm>
            <a:off x="6140402" y="5101427"/>
            <a:ext cx="346005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B35A5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dvantages: 	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B35A5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il stays on HP side, no pollution or breakdow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B35A5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ery simple oil return system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B35A5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aintenance free oil managemen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B35A5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o oil consumptio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isadvantage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creased refrigerant charge</a:t>
            </a:r>
          </a:p>
        </p:txBody>
      </p:sp>
      <p:sp>
        <p:nvSpPr>
          <p:cNvPr id="9" name="Tekstboks 72"/>
          <p:cNvSpPr txBox="1"/>
          <p:nvPr/>
        </p:nvSpPr>
        <p:spPr>
          <a:xfrm>
            <a:off x="5564338" y="4453354"/>
            <a:ext cx="3240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y clean oil to compressors</a:t>
            </a:r>
          </a:p>
        </p:txBody>
      </p:sp>
      <p:sp>
        <p:nvSpPr>
          <p:cNvPr id="11" name="Tekstboks 96"/>
          <p:cNvSpPr txBox="1"/>
          <p:nvPr/>
        </p:nvSpPr>
        <p:spPr>
          <a:xfrm>
            <a:off x="4340203" y="3589258"/>
            <a:ext cx="8723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B- </a:t>
            </a:r>
            <a:r>
              <a:rPr kumimoji="0" lang="da-DK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il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witch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2" name="Lige pilforbindelse 53"/>
          <p:cNvCxnSpPr/>
          <p:nvPr/>
        </p:nvCxnSpPr>
        <p:spPr>
          <a:xfrm flipH="1">
            <a:off x="6087488" y="1433828"/>
            <a:ext cx="376515" cy="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ge pilforbindelse 53"/>
          <p:cNvCxnSpPr/>
          <p:nvPr/>
        </p:nvCxnSpPr>
        <p:spPr>
          <a:xfrm flipH="1">
            <a:off x="4196186" y="3949298"/>
            <a:ext cx="216024" cy="36004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Lige pilforbindelse 53"/>
          <p:cNvCxnSpPr/>
          <p:nvPr/>
        </p:nvCxnSpPr>
        <p:spPr>
          <a:xfrm flipH="1">
            <a:off x="5564338" y="4021306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kstboks 17"/>
          <p:cNvSpPr txBox="1"/>
          <p:nvPr/>
        </p:nvSpPr>
        <p:spPr>
          <a:xfrm>
            <a:off x="1963938" y="3373235"/>
            <a:ext cx="14401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paration: Require knowledge about oil not commonly available</a:t>
            </a:r>
          </a:p>
        </p:txBody>
      </p:sp>
      <p:cxnSp>
        <p:nvCxnSpPr>
          <p:cNvPr id="17" name="Lige pilforbindelse 18"/>
          <p:cNvCxnSpPr/>
          <p:nvPr/>
        </p:nvCxnSpPr>
        <p:spPr>
          <a:xfrm flipV="1">
            <a:off x="3260082" y="3013194"/>
            <a:ext cx="864096" cy="648072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kstboks 78"/>
          <p:cNvSpPr txBox="1"/>
          <p:nvPr/>
        </p:nvSpPr>
        <p:spPr>
          <a:xfrm>
            <a:off x="7004498" y="2077091"/>
            <a:ext cx="4044502" cy="1015663"/>
          </a:xfrm>
          <a:prstGeom prst="rect">
            <a:avLst/>
          </a:prstGeom>
          <a:noFill/>
          <a:ln w="19050"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of of concept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RL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aulov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Dairy, Denmark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73 liters of oil found in 23 weeks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o oil found on LP sid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844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 advTm="15000">
        <p:cut/>
      </p:transition>
    </mc:Choice>
    <mc:Fallback xmlns="">
      <p:transition advTm="15000"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il manage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495926" y="6447779"/>
            <a:ext cx="3074463" cy="188501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/>
        </p:nvGraphicFramePr>
        <p:xfrm>
          <a:off x="2555106" y="688975"/>
          <a:ext cx="7327900" cy="554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2" imgW="6935123" imgH="5246640" progId="Visio.Drawing.11">
                  <p:embed/>
                </p:oleObj>
              </mc:Choice>
              <mc:Fallback>
                <p:oleObj name="Visio" r:id="rId2" imgW="6935123" imgH="5246640" progId="Visio.Drawing.11">
                  <p:embed/>
                  <p:pic>
                    <p:nvPicPr>
                      <p:cNvPr id="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55106" y="688975"/>
                        <a:ext cx="7327900" cy="55451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kstboks 7"/>
          <p:cNvSpPr txBox="1"/>
          <p:nvPr/>
        </p:nvSpPr>
        <p:spPr>
          <a:xfrm>
            <a:off x="7190210" y="2633861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0pp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ekstboks 9"/>
          <p:cNvSpPr txBox="1"/>
          <p:nvPr/>
        </p:nvSpPr>
        <p:spPr>
          <a:xfrm>
            <a:off x="9278442" y="2633861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0pp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Tekstboks 10"/>
          <p:cNvSpPr txBox="1"/>
          <p:nvPr/>
        </p:nvSpPr>
        <p:spPr>
          <a:xfrm>
            <a:off x="5534026" y="1337717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5pp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Tekstboks 11"/>
          <p:cNvSpPr txBox="1"/>
          <p:nvPr/>
        </p:nvSpPr>
        <p:spPr>
          <a:xfrm>
            <a:off x="1789610" y="2129805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5pp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ekstboks 12"/>
          <p:cNvSpPr txBox="1"/>
          <p:nvPr/>
        </p:nvSpPr>
        <p:spPr>
          <a:xfrm>
            <a:off x="6542137" y="5514181"/>
            <a:ext cx="1191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&gt;1ppm </a:t>
            </a:r>
            <a:r>
              <a: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i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Tekstboks 13"/>
          <p:cNvSpPr txBox="1"/>
          <p:nvPr/>
        </p:nvSpPr>
        <p:spPr>
          <a:xfrm>
            <a:off x="5966073" y="4290046"/>
            <a:ext cx="21878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ote !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igh TC (heat pump) :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e-gassing vessel necessary</a:t>
            </a:r>
          </a:p>
        </p:txBody>
      </p:sp>
      <p:cxnSp>
        <p:nvCxnSpPr>
          <p:cNvPr id="12" name="Lige pilforbindelse 14"/>
          <p:cNvCxnSpPr/>
          <p:nvPr/>
        </p:nvCxnSpPr>
        <p:spPr>
          <a:xfrm flipH="1">
            <a:off x="5750049" y="4506069"/>
            <a:ext cx="288032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322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 advTm="15000">
        <p:cut/>
      </p:transition>
    </mc:Choice>
    <mc:Fallback xmlns="">
      <p:transition advTm="15000"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0_GgoHI0ydoFtYp.uK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0_GgoHI0ydoFtYp.uK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0_GgoHI0ydoFtYp.uK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0_GgoHI0ydoFtYp.uK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ulWzJch0OR7nY7BqyR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OHUL79REin1kWuIVTX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N0dkMl4EWCBhont5.E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0_GgoHI0ydoFtYp.uK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Q0u41WUWdIXSFk.ta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EFQFYDvUi4erUcgr5u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SD4XJ9ak2Opf9dalLYnw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ol Template (white)">
  <a:themeElements>
    <a:clrScheme name="DONG Energy 1">
      <a:dk1>
        <a:sysClr val="windowText" lastClr="000000"/>
      </a:dk1>
      <a:lt1>
        <a:sysClr val="window" lastClr="FFFFFF"/>
      </a:lt1>
      <a:dk2>
        <a:srgbClr val="595959"/>
      </a:dk2>
      <a:lt2>
        <a:srgbClr val="0F96AA"/>
      </a:lt2>
      <a:accent1>
        <a:srgbClr val="B9C515"/>
      </a:accent1>
      <a:accent2>
        <a:srgbClr val="0F4B5F"/>
      </a:accent2>
      <a:accent3>
        <a:srgbClr val="BFBFBF"/>
      </a:accent3>
      <a:accent4>
        <a:srgbClr val="629415"/>
      </a:accent4>
      <a:accent5>
        <a:srgbClr val="B4D7E1"/>
      </a:accent5>
      <a:accent6>
        <a:srgbClr val="E5D066"/>
      </a:accent6>
      <a:hlink>
        <a:srgbClr val="696E68"/>
      </a:hlink>
      <a:folHlink>
        <a:srgbClr val="262626"/>
      </a:folHlink>
    </a:clrScheme>
    <a:fontScheme name="DONG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/>
        </a:defPPr>
      </a:lstStyle>
    </a:spDef>
    <a:lnDef>
      <a:spPr bwMode="auto"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</a:objectDefaults>
  <a:extraClrSchemeLst>
    <a:extraClrScheme>
      <a:clrScheme name="DONG energ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3">
        <a:dk1>
          <a:srgbClr val="000000"/>
        </a:dk1>
        <a:lt1>
          <a:srgbClr val="FFFFFF"/>
        </a:lt1>
        <a:dk2>
          <a:srgbClr val="7F847B"/>
        </a:dk2>
        <a:lt2>
          <a:srgbClr val="C30F10"/>
        </a:lt2>
        <a:accent1>
          <a:srgbClr val="B5BAAF"/>
        </a:accent1>
        <a:accent2>
          <a:srgbClr val="0E98AE"/>
        </a:accent2>
        <a:accent3>
          <a:srgbClr val="FFFFFF"/>
        </a:accent3>
        <a:accent4>
          <a:srgbClr val="000000"/>
        </a:accent4>
        <a:accent5>
          <a:srgbClr val="D7D9D4"/>
        </a:accent5>
        <a:accent6>
          <a:srgbClr val="0C899D"/>
        </a:accent6>
        <a:hlink>
          <a:srgbClr val="B9C523"/>
        </a:hlink>
        <a:folHlink>
          <a:srgbClr val="FF8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32</Words>
  <Application>Microsoft Office PowerPoint</Application>
  <PresentationFormat>Widescreen</PresentationFormat>
  <Paragraphs>31</Paragraphs>
  <Slides>3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3</vt:i4>
      </vt:variant>
    </vt:vector>
  </HeadingPairs>
  <TitlesOfParts>
    <vt:vector size="11" baseType="lpstr">
      <vt:lpstr>Arial</vt:lpstr>
      <vt:lpstr>Calibri</vt:lpstr>
      <vt:lpstr>Calibri Light</vt:lpstr>
      <vt:lpstr>Wingdings</vt:lpstr>
      <vt:lpstr>Office-tema</vt:lpstr>
      <vt:lpstr>Cool Template (white)</vt:lpstr>
      <vt:lpstr>think-cell Slide</vt:lpstr>
      <vt:lpstr>Visio</vt:lpstr>
      <vt:lpstr>PowerPoint-præsentation</vt:lpstr>
      <vt:lpstr>CPO – HP oil separation unit Oil separation in liquid R717</vt:lpstr>
      <vt:lpstr>Oil manag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Per Skaerbaek Nielsen</dc:creator>
  <cp:lastModifiedBy>Per Skaerbaek Nielsen</cp:lastModifiedBy>
  <cp:revision>1</cp:revision>
  <dcterms:created xsi:type="dcterms:W3CDTF">2024-01-30T11:54:43Z</dcterms:created>
  <dcterms:modified xsi:type="dcterms:W3CDTF">2024-01-30T11:59:42Z</dcterms:modified>
</cp:coreProperties>
</file>